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D919A3-B73B-443E-B27D-82EB01FE4E3F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EC051E-B86A-4593-AD3C-2ECFCE649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4643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81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6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04469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61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65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6082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4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56569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6">
            <a:extLst>
              <a:ext uri="{FF2B5EF4-FFF2-40B4-BE49-F238E27FC236}">
                <a16:creationId xmlns:a16="http://schemas.microsoft.com/office/drawing/2014/main" id="{D344ED52-A97B-DFC9-2079-37C668C14F60}"/>
              </a:ext>
            </a:extLst>
          </p:cNvPr>
          <p:cNvSpPr>
            <a:spLocks/>
          </p:cNvSpPr>
          <p:nvPr/>
        </p:nvSpPr>
        <p:spPr>
          <a:xfrm>
            <a:off x="4366517" y="2124258"/>
            <a:ext cx="7825483" cy="12285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46800" rIns="90000" bIns="468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}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99CAF86B-7078-76DC-4CC4-BC9AA295AF6B}"/>
              </a:ext>
            </a:extLst>
          </p:cNvPr>
          <p:cNvSpPr txBox="1">
            <a:spLocks/>
          </p:cNvSpPr>
          <p:nvPr/>
        </p:nvSpPr>
        <p:spPr>
          <a:xfrm>
            <a:off x="5363947" y="1574217"/>
            <a:ext cx="544286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b="1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None/>
              <a:defRPr sz="18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subtitle}</a:t>
            </a:r>
          </a:p>
        </p:txBody>
      </p:sp>
      <p:cxnSp>
        <p:nvCxnSpPr>
          <p:cNvPr id="4" name="Gerader Verbinder 8">
            <a:extLst>
              <a:ext uri="{FF2B5EF4-FFF2-40B4-BE49-F238E27FC236}">
                <a16:creationId xmlns:a16="http://schemas.microsoft.com/office/drawing/2014/main" id="{8DD2A2B2-833D-67A9-50DF-055DA8139202}"/>
              </a:ext>
            </a:extLst>
          </p:cNvPr>
          <p:cNvCxnSpPr>
            <a:cxnSpLocks/>
          </p:cNvCxnSpPr>
          <p:nvPr/>
        </p:nvCxnSpPr>
        <p:spPr>
          <a:xfrm>
            <a:off x="6716175" y="4702824"/>
            <a:ext cx="5093238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14">
            <a:extLst>
              <a:ext uri="{FF2B5EF4-FFF2-40B4-BE49-F238E27FC236}">
                <a16:creationId xmlns:a16="http://schemas.microsoft.com/office/drawing/2014/main" id="{29F9D9F7-F11E-F0D4-C7C3-283E295CF9AA}"/>
              </a:ext>
            </a:extLst>
          </p:cNvPr>
          <p:cNvSpPr txBox="1">
            <a:spLocks/>
          </p:cNvSpPr>
          <p:nvPr/>
        </p:nvSpPr>
        <p:spPr>
          <a:xfrm>
            <a:off x="6716175" y="4094290"/>
            <a:ext cx="5093238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name_guraduate_schoo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}</a:t>
            </a:r>
          </a:p>
        </p:txBody>
      </p:sp>
      <p:sp>
        <p:nvSpPr>
          <p:cNvPr id="7" name="Grafik 12">
            <a:extLst>
              <a:ext uri="{FF2B5EF4-FFF2-40B4-BE49-F238E27FC236}">
                <a16:creationId xmlns:a16="http://schemas.microsoft.com/office/drawing/2014/main" id="{8E21625C-D434-A39F-EA60-30ECB4BD555D}"/>
              </a:ext>
            </a:extLst>
          </p:cNvPr>
          <p:cNvSpPr>
            <a:spLocks/>
          </p:cNvSpPr>
          <p:nvPr/>
        </p:nvSpPr>
        <p:spPr>
          <a:xfrm>
            <a:off x="5452847" y="3979925"/>
            <a:ext cx="938428" cy="505730"/>
          </a:xfrm>
          <a:custGeom>
            <a:avLst/>
            <a:gdLst>
              <a:gd name="connsiteX0" fmla="*/ 830694 w 830694"/>
              <a:gd name="connsiteY0" fmla="*/ 148590 h 447674"/>
              <a:gd name="connsiteX1" fmla="*/ 415347 w 830694"/>
              <a:gd name="connsiteY1" fmla="*/ 0 h 447674"/>
              <a:gd name="connsiteX2" fmla="*/ 0 w 830694"/>
              <a:gd name="connsiteY2" fmla="*/ 148590 h 447674"/>
              <a:gd name="connsiteX3" fmla="*/ 81915 w 830694"/>
              <a:gd name="connsiteY3" fmla="*/ 177346 h 447674"/>
              <a:gd name="connsiteX4" fmla="*/ 81915 w 830694"/>
              <a:gd name="connsiteY4" fmla="*/ 342900 h 447674"/>
              <a:gd name="connsiteX5" fmla="*/ 91440 w 830694"/>
              <a:gd name="connsiteY5" fmla="*/ 352425 h 447674"/>
              <a:gd name="connsiteX6" fmla="*/ 100965 w 830694"/>
              <a:gd name="connsiteY6" fmla="*/ 342900 h 447674"/>
              <a:gd name="connsiteX7" fmla="*/ 100965 w 830694"/>
              <a:gd name="connsiteY7" fmla="*/ 184023 h 447674"/>
              <a:gd name="connsiteX8" fmla="*/ 168002 w 830694"/>
              <a:gd name="connsiteY8" fmla="*/ 207550 h 447674"/>
              <a:gd name="connsiteX9" fmla="*/ 168002 w 830694"/>
              <a:gd name="connsiteY9" fmla="*/ 344710 h 447674"/>
              <a:gd name="connsiteX10" fmla="*/ 415347 w 830694"/>
              <a:gd name="connsiteY10" fmla="*/ 447675 h 447674"/>
              <a:gd name="connsiteX11" fmla="*/ 662702 w 830694"/>
              <a:gd name="connsiteY11" fmla="*/ 344729 h 447674"/>
              <a:gd name="connsiteX12" fmla="*/ 662702 w 830694"/>
              <a:gd name="connsiteY12" fmla="*/ 207550 h 447674"/>
              <a:gd name="connsiteX13" fmla="*/ 415347 w 830694"/>
              <a:gd name="connsiteY13" fmla="*/ 20241 h 447674"/>
              <a:gd name="connsiteX14" fmla="*/ 773430 w 830694"/>
              <a:gd name="connsiteY14" fmla="*/ 148342 h 447674"/>
              <a:gd name="connsiteX15" fmla="*/ 773430 w 830694"/>
              <a:gd name="connsiteY15" fmla="*/ 148514 h 447674"/>
              <a:gd name="connsiteX16" fmla="*/ 415347 w 830694"/>
              <a:gd name="connsiteY16" fmla="*/ 274149 h 447674"/>
              <a:gd name="connsiteX17" fmla="*/ 57302 w 830694"/>
              <a:gd name="connsiteY17" fmla="*/ 148514 h 447674"/>
              <a:gd name="connsiteX18" fmla="*/ 57302 w 830694"/>
              <a:gd name="connsiteY18" fmla="*/ 148342 h 447674"/>
              <a:gd name="connsiteX19" fmla="*/ 643652 w 830694"/>
              <a:gd name="connsiteY19" fmla="*/ 344729 h 447674"/>
              <a:gd name="connsiteX20" fmla="*/ 415347 w 830694"/>
              <a:gd name="connsiteY20" fmla="*/ 428625 h 447674"/>
              <a:gd name="connsiteX21" fmla="*/ 187052 w 830694"/>
              <a:gd name="connsiteY21" fmla="*/ 344729 h 447674"/>
              <a:gd name="connsiteX22" fmla="*/ 187052 w 830694"/>
              <a:gd name="connsiteY22" fmla="*/ 214236 h 447674"/>
              <a:gd name="connsiteX23" fmla="*/ 415347 w 830694"/>
              <a:gd name="connsiteY23" fmla="*/ 294323 h 447674"/>
              <a:gd name="connsiteX24" fmla="*/ 643652 w 830694"/>
              <a:gd name="connsiteY24" fmla="*/ 214217 h 44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0694" h="447674">
                <a:moveTo>
                  <a:pt x="830694" y="148590"/>
                </a:moveTo>
                <a:lnTo>
                  <a:pt x="415347" y="0"/>
                </a:lnTo>
                <a:lnTo>
                  <a:pt x="0" y="148590"/>
                </a:lnTo>
                <a:lnTo>
                  <a:pt x="81915" y="177346"/>
                </a:lnTo>
                <a:lnTo>
                  <a:pt x="81915" y="342900"/>
                </a:lnTo>
                <a:cubicBezTo>
                  <a:pt x="81915" y="348161"/>
                  <a:pt x="86179" y="352425"/>
                  <a:pt x="91440" y="352425"/>
                </a:cubicBezTo>
                <a:cubicBezTo>
                  <a:pt x="96701" y="352425"/>
                  <a:pt x="100965" y="348161"/>
                  <a:pt x="100965" y="342900"/>
                </a:cubicBezTo>
                <a:lnTo>
                  <a:pt x="100965" y="184023"/>
                </a:lnTo>
                <a:lnTo>
                  <a:pt x="168002" y="207550"/>
                </a:lnTo>
                <a:lnTo>
                  <a:pt x="168002" y="344710"/>
                </a:lnTo>
                <a:cubicBezTo>
                  <a:pt x="168002" y="400526"/>
                  <a:pt x="281273" y="447675"/>
                  <a:pt x="415347" y="447675"/>
                </a:cubicBezTo>
                <a:cubicBezTo>
                  <a:pt x="549421" y="447675"/>
                  <a:pt x="662702" y="400526"/>
                  <a:pt x="662702" y="344729"/>
                </a:cubicBezTo>
                <a:lnTo>
                  <a:pt x="662702" y="207550"/>
                </a:lnTo>
                <a:close/>
                <a:moveTo>
                  <a:pt x="415347" y="20241"/>
                </a:moveTo>
                <a:lnTo>
                  <a:pt x="773430" y="148342"/>
                </a:lnTo>
                <a:cubicBezTo>
                  <a:pt x="773573" y="148390"/>
                  <a:pt x="773573" y="148466"/>
                  <a:pt x="773430" y="148514"/>
                </a:cubicBezTo>
                <a:lnTo>
                  <a:pt x="415347" y="274149"/>
                </a:lnTo>
                <a:lnTo>
                  <a:pt x="57302" y="148514"/>
                </a:lnTo>
                <a:cubicBezTo>
                  <a:pt x="57160" y="148466"/>
                  <a:pt x="57160" y="148390"/>
                  <a:pt x="57302" y="148342"/>
                </a:cubicBezTo>
                <a:close/>
                <a:moveTo>
                  <a:pt x="643652" y="344729"/>
                </a:moveTo>
                <a:cubicBezTo>
                  <a:pt x="643652" y="383524"/>
                  <a:pt x="543925" y="428625"/>
                  <a:pt x="415347" y="428625"/>
                </a:cubicBezTo>
                <a:cubicBezTo>
                  <a:pt x="286769" y="428625"/>
                  <a:pt x="187052" y="383524"/>
                  <a:pt x="187052" y="344729"/>
                </a:cubicBezTo>
                <a:lnTo>
                  <a:pt x="187052" y="214236"/>
                </a:lnTo>
                <a:lnTo>
                  <a:pt x="415347" y="294323"/>
                </a:lnTo>
                <a:lnTo>
                  <a:pt x="643652" y="21421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7864156E-2221-2384-5571-A1FF26612F45}"/>
              </a:ext>
            </a:extLst>
          </p:cNvPr>
          <p:cNvSpPr txBox="1">
            <a:spLocks/>
          </p:cNvSpPr>
          <p:nvPr/>
        </p:nvSpPr>
        <p:spPr>
          <a:xfrm>
            <a:off x="6716175" y="5034359"/>
            <a:ext cx="5093238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</a:t>
            </a:r>
            <a:r>
              <a:rPr lang="en-US" sz="1800" dirty="0" err="1">
                <a:solidFill>
                  <a:srgbClr val="575757"/>
                </a:solidFill>
                <a:latin typeface="理想品牌字体 2022"/>
              </a:rPr>
              <a:t>name_academic_qualification</a:t>
            </a:r>
            <a:r>
              <a:rPr lang="en-US" sz="1800" dirty="0">
                <a:solidFill>
                  <a:srgbClr val="575757"/>
                </a:solidFill>
                <a:latin typeface="理想品牌字体 2022"/>
              </a:rPr>
              <a:t>}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</a:endParaRPr>
          </a:p>
        </p:txBody>
      </p:sp>
      <p:sp>
        <p:nvSpPr>
          <p:cNvPr id="11" name="Grafik 6">
            <a:extLst>
              <a:ext uri="{FF2B5EF4-FFF2-40B4-BE49-F238E27FC236}">
                <a16:creationId xmlns:a16="http://schemas.microsoft.com/office/drawing/2014/main" id="{B002AB38-31DE-8ABB-FB0B-C67551052841}"/>
              </a:ext>
            </a:extLst>
          </p:cNvPr>
          <p:cNvSpPr>
            <a:spLocks/>
          </p:cNvSpPr>
          <p:nvPr/>
        </p:nvSpPr>
        <p:spPr>
          <a:xfrm>
            <a:off x="4662599" y="2558909"/>
            <a:ext cx="189130" cy="359238"/>
          </a:xfrm>
          <a:custGeom>
            <a:avLst/>
            <a:gdLst>
              <a:gd name="connsiteX0" fmla="*/ 0 w 267852"/>
              <a:gd name="connsiteY0" fmla="*/ 13468 h 508768"/>
              <a:gd name="connsiteX1" fmla="*/ 240916 w 267852"/>
              <a:gd name="connsiteY1" fmla="*/ 254384 h 508768"/>
              <a:gd name="connsiteX2" fmla="*/ 0 w 267852"/>
              <a:gd name="connsiteY2" fmla="*/ 495300 h 508768"/>
              <a:gd name="connsiteX3" fmla="*/ 13468 w 267852"/>
              <a:gd name="connsiteY3" fmla="*/ 508768 h 508768"/>
              <a:gd name="connsiteX4" fmla="*/ 267853 w 267852"/>
              <a:gd name="connsiteY4" fmla="*/ 254384 h 508768"/>
              <a:gd name="connsiteX5" fmla="*/ 13468 w 267852"/>
              <a:gd name="connsiteY5" fmla="*/ 0 h 508768"/>
              <a:gd name="connsiteX6" fmla="*/ 0 w 267852"/>
              <a:gd name="connsiteY6" fmla="*/ 13468 h 508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7852" h="508768">
                <a:moveTo>
                  <a:pt x="0" y="13468"/>
                </a:moveTo>
                <a:lnTo>
                  <a:pt x="240916" y="254384"/>
                </a:lnTo>
                <a:lnTo>
                  <a:pt x="0" y="495300"/>
                </a:lnTo>
                <a:lnTo>
                  <a:pt x="13468" y="508768"/>
                </a:lnTo>
                <a:lnTo>
                  <a:pt x="267853" y="254384"/>
                </a:lnTo>
                <a:lnTo>
                  <a:pt x="13468" y="0"/>
                </a:lnTo>
                <a:lnTo>
                  <a:pt x="0" y="13468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Grafik 12">
            <a:extLst>
              <a:ext uri="{FF2B5EF4-FFF2-40B4-BE49-F238E27FC236}">
                <a16:creationId xmlns:a16="http://schemas.microsoft.com/office/drawing/2014/main" id="{47999F78-6B68-870D-CBBD-30836FA929F8}"/>
              </a:ext>
            </a:extLst>
          </p:cNvPr>
          <p:cNvSpPr>
            <a:spLocks/>
          </p:cNvSpPr>
          <p:nvPr/>
        </p:nvSpPr>
        <p:spPr>
          <a:xfrm>
            <a:off x="5452847" y="4919994"/>
            <a:ext cx="938428" cy="505730"/>
          </a:xfrm>
          <a:custGeom>
            <a:avLst/>
            <a:gdLst>
              <a:gd name="connsiteX0" fmla="*/ 830694 w 830694"/>
              <a:gd name="connsiteY0" fmla="*/ 148590 h 447674"/>
              <a:gd name="connsiteX1" fmla="*/ 415347 w 830694"/>
              <a:gd name="connsiteY1" fmla="*/ 0 h 447674"/>
              <a:gd name="connsiteX2" fmla="*/ 0 w 830694"/>
              <a:gd name="connsiteY2" fmla="*/ 148590 h 447674"/>
              <a:gd name="connsiteX3" fmla="*/ 81915 w 830694"/>
              <a:gd name="connsiteY3" fmla="*/ 177346 h 447674"/>
              <a:gd name="connsiteX4" fmla="*/ 81915 w 830694"/>
              <a:gd name="connsiteY4" fmla="*/ 342900 h 447674"/>
              <a:gd name="connsiteX5" fmla="*/ 91440 w 830694"/>
              <a:gd name="connsiteY5" fmla="*/ 352425 h 447674"/>
              <a:gd name="connsiteX6" fmla="*/ 100965 w 830694"/>
              <a:gd name="connsiteY6" fmla="*/ 342900 h 447674"/>
              <a:gd name="connsiteX7" fmla="*/ 100965 w 830694"/>
              <a:gd name="connsiteY7" fmla="*/ 184023 h 447674"/>
              <a:gd name="connsiteX8" fmla="*/ 168002 w 830694"/>
              <a:gd name="connsiteY8" fmla="*/ 207550 h 447674"/>
              <a:gd name="connsiteX9" fmla="*/ 168002 w 830694"/>
              <a:gd name="connsiteY9" fmla="*/ 344710 h 447674"/>
              <a:gd name="connsiteX10" fmla="*/ 415347 w 830694"/>
              <a:gd name="connsiteY10" fmla="*/ 447675 h 447674"/>
              <a:gd name="connsiteX11" fmla="*/ 662702 w 830694"/>
              <a:gd name="connsiteY11" fmla="*/ 344729 h 447674"/>
              <a:gd name="connsiteX12" fmla="*/ 662702 w 830694"/>
              <a:gd name="connsiteY12" fmla="*/ 207550 h 447674"/>
              <a:gd name="connsiteX13" fmla="*/ 415347 w 830694"/>
              <a:gd name="connsiteY13" fmla="*/ 20241 h 447674"/>
              <a:gd name="connsiteX14" fmla="*/ 773430 w 830694"/>
              <a:gd name="connsiteY14" fmla="*/ 148342 h 447674"/>
              <a:gd name="connsiteX15" fmla="*/ 773430 w 830694"/>
              <a:gd name="connsiteY15" fmla="*/ 148514 h 447674"/>
              <a:gd name="connsiteX16" fmla="*/ 415347 w 830694"/>
              <a:gd name="connsiteY16" fmla="*/ 274149 h 447674"/>
              <a:gd name="connsiteX17" fmla="*/ 57302 w 830694"/>
              <a:gd name="connsiteY17" fmla="*/ 148514 h 447674"/>
              <a:gd name="connsiteX18" fmla="*/ 57302 w 830694"/>
              <a:gd name="connsiteY18" fmla="*/ 148342 h 447674"/>
              <a:gd name="connsiteX19" fmla="*/ 643652 w 830694"/>
              <a:gd name="connsiteY19" fmla="*/ 344729 h 447674"/>
              <a:gd name="connsiteX20" fmla="*/ 415347 w 830694"/>
              <a:gd name="connsiteY20" fmla="*/ 428625 h 447674"/>
              <a:gd name="connsiteX21" fmla="*/ 187052 w 830694"/>
              <a:gd name="connsiteY21" fmla="*/ 344729 h 447674"/>
              <a:gd name="connsiteX22" fmla="*/ 187052 w 830694"/>
              <a:gd name="connsiteY22" fmla="*/ 214236 h 447674"/>
              <a:gd name="connsiteX23" fmla="*/ 415347 w 830694"/>
              <a:gd name="connsiteY23" fmla="*/ 294323 h 447674"/>
              <a:gd name="connsiteX24" fmla="*/ 643652 w 830694"/>
              <a:gd name="connsiteY24" fmla="*/ 214217 h 44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0694" h="447674">
                <a:moveTo>
                  <a:pt x="830694" y="148590"/>
                </a:moveTo>
                <a:lnTo>
                  <a:pt x="415347" y="0"/>
                </a:lnTo>
                <a:lnTo>
                  <a:pt x="0" y="148590"/>
                </a:lnTo>
                <a:lnTo>
                  <a:pt x="81915" y="177346"/>
                </a:lnTo>
                <a:lnTo>
                  <a:pt x="81915" y="342900"/>
                </a:lnTo>
                <a:cubicBezTo>
                  <a:pt x="81915" y="348161"/>
                  <a:pt x="86179" y="352425"/>
                  <a:pt x="91440" y="352425"/>
                </a:cubicBezTo>
                <a:cubicBezTo>
                  <a:pt x="96701" y="352425"/>
                  <a:pt x="100965" y="348161"/>
                  <a:pt x="100965" y="342900"/>
                </a:cubicBezTo>
                <a:lnTo>
                  <a:pt x="100965" y="184023"/>
                </a:lnTo>
                <a:lnTo>
                  <a:pt x="168002" y="207550"/>
                </a:lnTo>
                <a:lnTo>
                  <a:pt x="168002" y="344710"/>
                </a:lnTo>
                <a:cubicBezTo>
                  <a:pt x="168002" y="400526"/>
                  <a:pt x="281273" y="447675"/>
                  <a:pt x="415347" y="447675"/>
                </a:cubicBezTo>
                <a:cubicBezTo>
                  <a:pt x="549421" y="447675"/>
                  <a:pt x="662702" y="400526"/>
                  <a:pt x="662702" y="344729"/>
                </a:cubicBezTo>
                <a:lnTo>
                  <a:pt x="662702" y="207550"/>
                </a:lnTo>
                <a:close/>
                <a:moveTo>
                  <a:pt x="415347" y="20241"/>
                </a:moveTo>
                <a:lnTo>
                  <a:pt x="773430" y="148342"/>
                </a:lnTo>
                <a:cubicBezTo>
                  <a:pt x="773573" y="148390"/>
                  <a:pt x="773573" y="148466"/>
                  <a:pt x="773430" y="148514"/>
                </a:cubicBezTo>
                <a:lnTo>
                  <a:pt x="415347" y="274149"/>
                </a:lnTo>
                <a:lnTo>
                  <a:pt x="57302" y="148514"/>
                </a:lnTo>
                <a:cubicBezTo>
                  <a:pt x="57160" y="148466"/>
                  <a:pt x="57160" y="148390"/>
                  <a:pt x="57302" y="148342"/>
                </a:cubicBezTo>
                <a:close/>
                <a:moveTo>
                  <a:pt x="643652" y="344729"/>
                </a:moveTo>
                <a:cubicBezTo>
                  <a:pt x="643652" y="383524"/>
                  <a:pt x="543925" y="428625"/>
                  <a:pt x="415347" y="428625"/>
                </a:cubicBezTo>
                <a:cubicBezTo>
                  <a:pt x="286769" y="428625"/>
                  <a:pt x="187052" y="383524"/>
                  <a:pt x="187052" y="344729"/>
                </a:cubicBezTo>
                <a:lnTo>
                  <a:pt x="187052" y="214236"/>
                </a:lnTo>
                <a:lnTo>
                  <a:pt x="415347" y="294323"/>
                </a:lnTo>
                <a:lnTo>
                  <a:pt x="643652" y="214217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hteck 18">
            <a:extLst>
              <a:ext uri="{FF2B5EF4-FFF2-40B4-BE49-F238E27FC236}">
                <a16:creationId xmlns:a16="http://schemas.microsoft.com/office/drawing/2014/main" id="{1D6D0B8A-65EF-5318-D68D-F61DFCD4930F}"/>
              </a:ext>
            </a:extLst>
          </p:cNvPr>
          <p:cNvSpPr>
            <a:spLocks/>
          </p:cNvSpPr>
          <p:nvPr/>
        </p:nvSpPr>
        <p:spPr>
          <a:xfrm>
            <a:off x="2" y="2124258"/>
            <a:ext cx="590705" cy="12285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826AADA1-8278-560E-994D-9668125E7E77}"/>
              </a:ext>
            </a:extLst>
          </p:cNvPr>
          <p:cNvSpPr>
            <a:spLocks/>
          </p:cNvSpPr>
          <p:nvPr/>
        </p:nvSpPr>
        <p:spPr>
          <a:xfrm>
            <a:off x="419100" y="1557339"/>
            <a:ext cx="3947417" cy="4500562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497FCBD6-CE1E-3FD4-33A8-1A12C361CA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2685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intro, intros, introduction, introductions, profiles</a:t>
            </a:r>
          </a:p>
        </p:txBody>
      </p:sp>
    </p:spTree>
    <p:extLst>
      <p:ext uri="{BB962C8B-B14F-4D97-AF65-F5344CB8AC3E}">
        <p14:creationId xmlns:p14="http://schemas.microsoft.com/office/powerpoint/2010/main" val="3856140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5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44:42Z</dcterms:created>
  <dcterms:modified xsi:type="dcterms:W3CDTF">2025-09-09T01:46:08Z</dcterms:modified>
</cp:coreProperties>
</file>